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7"/>
  </p:notesMasterIdLst>
  <p:handoutMasterIdLst>
    <p:handoutMasterId r:id="rId8"/>
  </p:handoutMasterIdLst>
  <p:sldIdLst>
    <p:sldId id="287" r:id="rId6"/>
  </p:sldIdLst>
  <p:sldSz cx="9144000" cy="6858000" type="screen4x3"/>
  <p:notesSz cx="6797675" cy="9926638"/>
  <p:custDataLst>
    <p:tags r:id="rId9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CB33F"/>
    <a:srgbClr val="A6A6A6"/>
    <a:srgbClr val="B0C4DE"/>
    <a:srgbClr val="004686"/>
    <a:srgbClr val="0054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588" autoAdjust="0"/>
    <p:restoredTop sz="98825" autoAdjust="0"/>
  </p:normalViewPr>
  <p:slideViewPr>
    <p:cSldViewPr snapToGrid="0" snapToObjects="1">
      <p:cViewPr varScale="1">
        <p:scale>
          <a:sx n="134" d="100"/>
          <a:sy n="134" d="100"/>
        </p:scale>
        <p:origin x="-1872" y="-78"/>
      </p:cViewPr>
      <p:guideLst>
        <p:guide orient="horz" pos="3585"/>
        <p:guide orient="horz" pos="1009"/>
        <p:guide orient="horz" pos="813"/>
        <p:guide pos="417"/>
        <p:guide pos="5392"/>
        <p:guide/>
        <p:guide pos="361"/>
        <p:guide pos="554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3" d="100"/>
          <a:sy n="53" d="100"/>
        </p:scale>
        <p:origin x="-2904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77C505A3-A9CC-49F4-BAD6-8D622E034F3C}" type="datetimeFigureOut">
              <a:rPr lang="en-US"/>
              <a:pPr>
                <a:defRPr/>
              </a:pPr>
              <a:t>8/1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07CCF0AA-F62B-4D86-A1B1-6749A8FFF2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22969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ECC757E8-FD9D-4F90-AD6A-D27FBB9E54EF}" type="datetimeFigureOut">
              <a:rPr lang="en-US"/>
              <a:pPr>
                <a:defRPr/>
              </a:pPr>
              <a:t>8/1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684812FA-27EF-488B-BFAA-6990DF5438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5789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defRPr/>
            </a:pPr>
            <a:r>
              <a:rPr lang="en-US" dirty="0" smtClean="0">
                <a:latin typeface="Arial" charset="0"/>
              </a:rPr>
              <a:t>OUTPUT </a:t>
            </a:r>
          </a:p>
          <a:p>
            <a:pPr marL="228600" indent="-228600">
              <a:defRPr/>
            </a:pPr>
            <a:r>
              <a:rPr lang="en-US" sz="800" dirty="0" smtClean="0">
                <a:latin typeface="Arial" charset="0"/>
              </a:rPr>
              <a:t>____________________________________________________</a:t>
            </a:r>
          </a:p>
          <a:p>
            <a:pPr marL="228600" indent="-228600">
              <a:defRPr/>
            </a:pPr>
            <a:r>
              <a:rPr lang="en-US" dirty="0" smtClean="0">
                <a:latin typeface="Arial" charset="0"/>
              </a:rPr>
              <a:t>This slide is self-explanatory and should be filled out with succinct comments in each of the subject matter boxes.  This NPLS will be refined over time and eventually will serve as a Sales Tool.</a:t>
            </a:r>
          </a:p>
          <a:p>
            <a:pPr marL="228600" indent="-228600">
              <a:defRPr/>
            </a:pPr>
            <a:endParaRPr lang="en-US" dirty="0" smtClean="0">
              <a:latin typeface="Arial" charset="0"/>
            </a:endParaRPr>
          </a:p>
          <a:p>
            <a:pPr marL="228600" indent="-228600">
              <a:defRPr/>
            </a:pPr>
            <a:r>
              <a:rPr lang="en-US" dirty="0" smtClean="0">
                <a:latin typeface="Arial" charset="0"/>
              </a:rPr>
              <a:t>.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2253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FF4BB523-02AC-4256-B7F7-7C801638B18C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6583363"/>
            <a:ext cx="9144000" cy="27463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r" defTabSz="914400" eaLnBrk="0" hangingPunct="0"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pic>
        <p:nvPicPr>
          <p:cNvPr id="5" name="Picture 9" descr="Ingred_Logo_GrnWhy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16338" y="2151063"/>
            <a:ext cx="1704975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584448"/>
            <a:ext cx="7772400" cy="1470025"/>
          </a:xfrm>
        </p:spPr>
        <p:txBody>
          <a:bodyPr>
            <a:no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6103811"/>
            <a:ext cx="7772400" cy="758952"/>
          </a:xfrm>
        </p:spPr>
        <p:txBody>
          <a:bodyPr>
            <a:noAutofit/>
          </a:bodyPr>
          <a:lstStyle>
            <a:lvl1pPr marL="0" indent="0" algn="ctr">
              <a:buNone/>
              <a:defRPr sz="1400" cap="all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ividerBkgd_Aquamarine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4375" y="0"/>
            <a:ext cx="7185025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Ingred_Logo_GrnWhy.tif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5900" y="2425700"/>
            <a:ext cx="1584325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8333" y="2904062"/>
            <a:ext cx="6166380" cy="1362075"/>
          </a:xfrm>
        </p:spPr>
        <p:txBody>
          <a:bodyPr>
            <a:noAutofit/>
          </a:bodyPr>
          <a:lstStyle>
            <a:lvl1pPr algn="l">
              <a:defRPr sz="30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ividerBkgd_Aquamarine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4375" y="0"/>
            <a:ext cx="7185025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Ingred_Logo_GrnWhy.tif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5900" y="2425700"/>
            <a:ext cx="1584325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8333" y="2904062"/>
            <a:ext cx="6166380" cy="1362075"/>
          </a:xfrm>
        </p:spPr>
        <p:txBody>
          <a:bodyPr>
            <a:noAutofit/>
          </a:bodyPr>
          <a:lstStyle>
            <a:lvl1pPr algn="l">
              <a:defRPr sz="30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Ingred_Logo_GrnWhy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5900" y="2425700"/>
            <a:ext cx="1584325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1981200" y="0"/>
            <a:ext cx="7162800" cy="6858000"/>
          </a:xfr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8464" y="5003805"/>
            <a:ext cx="6303433" cy="1470025"/>
          </a:xfrm>
        </p:spPr>
        <p:txBody>
          <a:bodyPr>
            <a:noAutofit/>
          </a:bodyPr>
          <a:lstStyle>
            <a:lvl1pPr algn="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97" y="5477933"/>
            <a:ext cx="1752603" cy="953562"/>
          </a:xfrm>
        </p:spPr>
        <p:txBody>
          <a:bodyPr anchor="b">
            <a:noAutofit/>
          </a:bodyPr>
          <a:lstStyle>
            <a:lvl1pPr marL="0" indent="0" algn="l">
              <a:buNone/>
              <a:defRPr sz="1400" cap="all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9CD4CB-2AA6-437F-BF91-C204E983A1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660398" y="1600201"/>
            <a:ext cx="7899401" cy="38100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548667-93D0-4D7D-ACB4-20F6FA8D29D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/>
        </p:nvSpPr>
        <p:spPr bwMode="auto">
          <a:xfrm>
            <a:off x="0" y="6583363"/>
            <a:ext cx="9144000" cy="27463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r" defTabSz="914400" eaLnBrk="0" hangingPunct="0"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pic>
        <p:nvPicPr>
          <p:cNvPr id="6" name="Picture 7" descr="Ingredion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1888" y="5689600"/>
            <a:ext cx="1222375" cy="79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4"/>
          <p:cNvCxnSpPr/>
          <p:nvPr/>
        </p:nvCxnSpPr>
        <p:spPr>
          <a:xfrm rot="5400000">
            <a:off x="2724150" y="3862388"/>
            <a:ext cx="4525963" cy="15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398" y="1600200"/>
            <a:ext cx="4157135" cy="45259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249332" y="1600200"/>
            <a:ext cx="3310467" cy="4525963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D45E25-81C7-4754-A190-53922C228F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0" y="6583363"/>
            <a:ext cx="9144000" cy="27463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r" defTabSz="914400" eaLnBrk="0" hangingPunct="0"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pic>
        <p:nvPicPr>
          <p:cNvPr id="6" name="Picture 9" descr="Ingredion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19563" y="5689600"/>
            <a:ext cx="1222375" cy="79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368" y="274638"/>
            <a:ext cx="4588935" cy="1143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369" y="1600200"/>
            <a:ext cx="4588934" cy="41486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5672667" y="0"/>
            <a:ext cx="3471333" cy="6583363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34EC3A-00A5-45EF-ABA0-54A485A7B4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EA7DC3-1695-44DF-B0E8-C6508CE300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ividerBkgd_Aquamarine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4375" y="0"/>
            <a:ext cx="7185025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Ingred_Logo_GrnWhy.tif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5900" y="2425700"/>
            <a:ext cx="1584325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8333" y="2904062"/>
            <a:ext cx="6166380" cy="1362075"/>
          </a:xfrm>
        </p:spPr>
        <p:txBody>
          <a:bodyPr>
            <a:noAutofit/>
          </a:bodyPr>
          <a:lstStyle>
            <a:lvl1pPr algn="l">
              <a:defRPr sz="30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6583363"/>
            <a:ext cx="9144000" cy="27463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r" defTabSz="914400" eaLnBrk="0" hangingPunct="0"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660400" y="274638"/>
            <a:ext cx="7899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60400" y="1600200"/>
            <a:ext cx="7899400" cy="40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04000" y="6583363"/>
            <a:ext cx="2133600" cy="25558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1B352E8F-B5D6-4F45-928B-70F2B0BE6A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30" name="Picture 7" descr="Ingredion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7967663" y="6124575"/>
            <a:ext cx="736600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9" r:id="rId3"/>
    <p:sldLayoutId id="2147483658" r:id="rId4"/>
    <p:sldLayoutId id="2147483662" r:id="rId5"/>
    <p:sldLayoutId id="2147483663" r:id="rId6"/>
    <p:sldLayoutId id="2147483657" r:id="rId7"/>
    <p:sldLayoutId id="2147483664" r:id="rId8"/>
    <p:sldLayoutId id="2147483665" r:id="rId9"/>
    <p:sldLayoutId id="2147483666" r:id="rId10"/>
    <p:sldLayoutId id="214748366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ill Sans MT" charset="0"/>
          <a:ea typeface="MS PGothic" pitchFamily="34" charset="-128"/>
          <a:cs typeface="ＭＳ Ｐゴシック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ill Sans MT" charset="0"/>
          <a:ea typeface="MS PGothic" pitchFamily="34" charset="-128"/>
          <a:cs typeface="ＭＳ Ｐゴシック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ill Sans MT" charset="0"/>
          <a:ea typeface="MS PGothic" pitchFamily="34" charset="-128"/>
          <a:cs typeface="ＭＳ Ｐゴシック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ill Sans MT" charset="0"/>
          <a:ea typeface="MS PGothic" pitchFamily="34" charset="-128"/>
          <a:cs typeface="ＭＳ Ｐゴシック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ill Sans MT" charset="0"/>
          <a:ea typeface="ＭＳ Ｐゴシック" charset="0"/>
          <a:cs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ill Sans MT" charset="0"/>
          <a:ea typeface="ＭＳ Ｐゴシック" charset="0"/>
          <a:cs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ill Sans MT" charset="0"/>
          <a:ea typeface="ＭＳ Ｐゴシック" charset="0"/>
          <a:cs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ill Sans MT" charset="0"/>
          <a:ea typeface="ＭＳ Ｐゴシック" charset="0"/>
          <a:cs typeface="ＭＳ Ｐゴシック" charset="0"/>
        </a:defRPr>
      </a:lvl9pPr>
    </p:titleStyle>
    <p:bodyStyle>
      <a:lvl1pPr marL="228600" indent="-228600" algn="l" defTabSz="457200" rtl="0" eaLnBrk="0" fontAlgn="base" hangingPunct="0">
        <a:spcBef>
          <a:spcPts val="400"/>
        </a:spcBef>
        <a:spcAft>
          <a:spcPts val="400"/>
        </a:spcAft>
        <a:buClr>
          <a:schemeClr val="tx2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457200" indent="-228600" algn="l" defTabSz="457200" rtl="0" eaLnBrk="0" fontAlgn="base" hangingPunct="0">
        <a:spcBef>
          <a:spcPts val="200"/>
        </a:spcBef>
        <a:spcAft>
          <a:spcPts val="400"/>
        </a:spcAft>
        <a:buClr>
          <a:schemeClr val="tx2"/>
        </a:buClr>
        <a:buFont typeface="Arial" charset="0"/>
        <a:buChar char="–"/>
        <a:defRPr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685800" indent="-228600" algn="l" defTabSz="457200" rtl="0" eaLnBrk="0" fontAlgn="base" hangingPunct="0">
        <a:spcBef>
          <a:spcPts val="200"/>
        </a:spcBef>
        <a:spcAft>
          <a:spcPts val="400"/>
        </a:spcAft>
        <a:buClr>
          <a:schemeClr val="tx2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914400" indent="-228600" algn="l" defTabSz="457200" rtl="0" eaLnBrk="0" fontAlgn="base" hangingPunct="0">
        <a:spcBef>
          <a:spcPts val="200"/>
        </a:spcBef>
        <a:spcAft>
          <a:spcPts val="400"/>
        </a:spcAft>
        <a:buClr>
          <a:schemeClr val="tx2"/>
        </a:buClr>
        <a:buFont typeface="Arial" charset="0"/>
        <a:buChar char="–"/>
        <a:defRPr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1143000" indent="-228600" algn="l" defTabSz="457200" rtl="0" eaLnBrk="0" fontAlgn="base" hangingPunct="0">
        <a:spcBef>
          <a:spcPts val="200"/>
        </a:spcBef>
        <a:spcAft>
          <a:spcPts val="400"/>
        </a:spcAft>
        <a:buClr>
          <a:schemeClr val="tx2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6.jpeg"/><Relationship Id="rId5" Type="http://schemas.openxmlformats.org/officeDocument/2006/relationships/tags" Target="../tags/tag6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4" name="Slide Number Placeholder 5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2816CCCC-BFAA-4177-BE82-AD72C1354BF6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15362" name="Rectangle 2"/>
          <p:cNvSpPr>
            <a:spLocks noGrp="1"/>
          </p:cNvSpPr>
          <p:nvPr>
            <p:ph type="title"/>
          </p:nvPr>
        </p:nvSpPr>
        <p:spPr>
          <a:xfrm>
            <a:off x="452438" y="274638"/>
            <a:ext cx="7962900" cy="114300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UNI-PURE </a:t>
            </a:r>
            <a:r>
              <a:rPr lang="en-GB" baseline="30000" dirty="0">
                <a:solidFill>
                  <a:schemeClr val="tx2"/>
                </a:solidFill>
              </a:rPr>
              <a:t>TM</a:t>
            </a:r>
            <a:r>
              <a:rPr lang="en-GB" dirty="0">
                <a:solidFill>
                  <a:schemeClr val="tx2"/>
                </a:solidFill>
              </a:rPr>
              <a:t> IMF 2332</a:t>
            </a: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3087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4009" y="5353885"/>
            <a:ext cx="8228010" cy="76338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GB" sz="1400" dirty="0"/>
              <a:t>UNI-PURE </a:t>
            </a:r>
            <a:r>
              <a:rPr lang="en-GB" sz="1400" baseline="30000" dirty="0"/>
              <a:t>TM</a:t>
            </a:r>
            <a:r>
              <a:rPr lang="en-GB" sz="1400" dirty="0"/>
              <a:t> IMF 2332 </a:t>
            </a:r>
            <a:r>
              <a:rPr lang="ru-RU" sz="1400" dirty="0" smtClean="0"/>
              <a:t>– альтернатива эмульгаторам на основе молочных белков , позволяет производить высококачественные безмолочные специализированные смеси для детского питания . Обеспечивает стабильность эмульсии и защиту масла от окисления на протяжении всего срока хранения.</a:t>
            </a: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364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65150" y="1338263"/>
            <a:ext cx="8228013" cy="1041400"/>
          </a:xfrm>
          <a:prstGeom prst="rect">
            <a:avLst/>
          </a:prstGeom>
          <a:solidFill>
            <a:srgbClr val="6CB33F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ru-RU" sz="1600" b="1" dirty="0" smtClean="0">
                <a:solidFill>
                  <a:schemeClr val="bg1"/>
                </a:solidFill>
              </a:rPr>
              <a:t>Высокофункциональный  эмульгирующий крахмал, не содержит аллергенов и молочных белков . Предназначен для эмульгирования и инкапсулирования масел и жиров  в специализированных смесях для питания детей на основе гидролизатов  молочных белков  или  белков  из других видов сырья.</a:t>
            </a:r>
            <a:r>
              <a:rPr lang="en-GB" sz="1600" b="1" dirty="0" smtClean="0">
                <a:solidFill>
                  <a:schemeClr val="bg1"/>
                </a:solidFill>
              </a:rPr>
              <a:t> 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5365" name="Text Box 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2438" y="799815"/>
            <a:ext cx="82169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dirty="0" smtClean="0"/>
              <a:t>Пищевой эмульгатор, не содержащий молочных белков. Предназначен для использования в специализированном медицинском питании для детей  с первого года жизни и взрослых</a:t>
            </a: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366" name="Text Box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19313" y="2513013"/>
            <a:ext cx="6681787" cy="13234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/>
            <a:r>
              <a:rPr lang="ru-RU" sz="1000" b="1" dirty="0" smtClean="0">
                <a:cs typeface="Browallia New" pitchFamily="34" charset="-34"/>
              </a:rPr>
              <a:t>Требования потребителя</a:t>
            </a:r>
            <a:r>
              <a:rPr lang="en-US" sz="1000" b="1" dirty="0" smtClean="0">
                <a:cs typeface="Browallia New" pitchFamily="34" charset="-34"/>
              </a:rPr>
              <a:t>:</a:t>
            </a:r>
            <a:endParaRPr lang="en-US" sz="1000" b="1" dirty="0">
              <a:cs typeface="Browallia New" pitchFamily="34" charset="-34"/>
            </a:endParaRPr>
          </a:p>
          <a:p>
            <a:pPr>
              <a:buClr>
                <a:schemeClr val="accent1"/>
              </a:buClr>
            </a:pPr>
            <a:r>
              <a:rPr lang="ru-RU" sz="1000" smtClean="0">
                <a:cs typeface="Browallia New" pitchFamily="34" charset="-34"/>
              </a:rPr>
              <a:t>Безаллергенный</a:t>
            </a:r>
            <a:r>
              <a:rPr lang="en-GB" sz="1000" dirty="0" smtClean="0">
                <a:cs typeface="Browallia New" pitchFamily="34" charset="-34"/>
              </a:rPr>
              <a:t>/</a:t>
            </a:r>
            <a:r>
              <a:rPr lang="ru-RU" sz="1000" dirty="0" smtClean="0">
                <a:cs typeface="Browallia New" pitchFamily="34" charset="-34"/>
              </a:rPr>
              <a:t>безопасный ингредиент, способный заменить традиционные эмульгаторы на основе протеинов в специализированном питании для детей от первого года жизни и взрослых , не содержащем молочных компонентов.</a:t>
            </a:r>
            <a:endParaRPr lang="en-GB" sz="1000" dirty="0">
              <a:cs typeface="Browallia New" pitchFamily="34" charset="-34"/>
            </a:endParaRPr>
          </a:p>
          <a:p>
            <a:pPr marL="177800" indent="-177800">
              <a:buClr>
                <a:schemeClr val="accent1"/>
              </a:buClr>
            </a:pPr>
            <a:endParaRPr lang="en-GB" sz="1000" dirty="0">
              <a:cs typeface="Browallia New" pitchFamily="34" charset="-34"/>
            </a:endParaRPr>
          </a:p>
          <a:p>
            <a:pPr marL="177800" indent="-177800">
              <a:buClr>
                <a:schemeClr val="accent1"/>
              </a:buClr>
            </a:pPr>
            <a:endParaRPr lang="en-GB" sz="1000" dirty="0">
              <a:cs typeface="Browallia New" pitchFamily="34" charset="-34"/>
            </a:endParaRPr>
          </a:p>
          <a:p>
            <a:pPr marL="177800" indent="-177800">
              <a:buClr>
                <a:schemeClr val="accent1"/>
              </a:buClr>
            </a:pPr>
            <a:endParaRPr lang="en-GB" sz="1000" dirty="0">
              <a:cs typeface="Browallia New" pitchFamily="34" charset="-34"/>
            </a:endParaRPr>
          </a:p>
          <a:p>
            <a:pPr marL="177800" indent="-177800">
              <a:buClr>
                <a:schemeClr val="accent1"/>
              </a:buClr>
            </a:pPr>
            <a:endParaRPr lang="en-GB" sz="1000" dirty="0">
              <a:cs typeface="Browallia New" pitchFamily="34" charset="-34"/>
            </a:endParaRPr>
          </a:p>
        </p:txBody>
      </p:sp>
      <p:sp>
        <p:nvSpPr>
          <p:cNvPr id="15367" name="Text Box 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86504" y="4187825"/>
            <a:ext cx="1616771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b="1" dirty="0" smtClean="0">
                <a:cs typeface="Browallia New" pitchFamily="34" charset="-34"/>
              </a:rPr>
              <a:t>ПРИМЕНЕНИЕ</a:t>
            </a:r>
            <a:r>
              <a:rPr lang="en-US" sz="1000" b="1" dirty="0" smtClean="0">
                <a:cs typeface="Browallia New" pitchFamily="34" charset="-34"/>
              </a:rPr>
              <a:t>:</a:t>
            </a:r>
            <a:endParaRPr lang="en-US" sz="1000" b="1" dirty="0">
              <a:cs typeface="Browallia New" pitchFamily="34" charset="-34"/>
            </a:endParaRPr>
          </a:p>
          <a:p>
            <a:r>
              <a:rPr lang="ru-RU" sz="1000" dirty="0" smtClean="0">
                <a:cs typeface="Browallia New" pitchFamily="34" charset="-34"/>
              </a:rPr>
              <a:t>Смеси для специализированного клинического питания, не содержащие молочные белки</a:t>
            </a:r>
            <a:endParaRPr lang="en-GB" sz="1000" dirty="0">
              <a:cs typeface="Browallia New" pitchFamily="34" charset="-34"/>
            </a:endParaRPr>
          </a:p>
          <a:p>
            <a:endParaRPr lang="en-GB" sz="1000" dirty="0">
              <a:cs typeface="Browallia New" pitchFamily="34" charset="-34"/>
            </a:endParaRPr>
          </a:p>
          <a:p>
            <a:endParaRPr lang="en-GB" sz="1000" dirty="0">
              <a:cs typeface="Browallia New" pitchFamily="34" charset="-34"/>
            </a:endParaRPr>
          </a:p>
          <a:p>
            <a:endParaRPr lang="en-US" sz="1000" dirty="0">
              <a:cs typeface="Browallia New" pitchFamily="34" charset="-34"/>
            </a:endParaRPr>
          </a:p>
        </p:txBody>
      </p:sp>
      <p:sp>
        <p:nvSpPr>
          <p:cNvPr id="15368" name="Text Box 1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18112" y="3836452"/>
            <a:ext cx="3451225" cy="144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>
              <a:lnSpc>
                <a:spcPct val="110000"/>
              </a:lnSpc>
            </a:pPr>
            <a:r>
              <a:rPr lang="ru-RU" sz="1000" b="1" dirty="0" smtClean="0">
                <a:cs typeface="Browallia New" pitchFamily="34" charset="-34"/>
              </a:rPr>
              <a:t>Свойства </a:t>
            </a:r>
            <a:r>
              <a:rPr lang="en-US" sz="1000" b="1" dirty="0" smtClean="0">
                <a:cs typeface="Browallia New" pitchFamily="34" charset="-34"/>
              </a:rPr>
              <a:t>:</a:t>
            </a:r>
            <a:endParaRPr lang="en-GB" sz="1000" dirty="0">
              <a:cs typeface="Browallia New" pitchFamily="34" charset="-34"/>
            </a:endParaRPr>
          </a:p>
          <a:p>
            <a:pPr marL="177800" indent="-177800">
              <a:lnSpc>
                <a:spcPct val="110000"/>
              </a:lnSpc>
              <a:buClr>
                <a:schemeClr val="accent1"/>
              </a:buClr>
              <a:buFontTx/>
              <a:buChar char="•"/>
            </a:pPr>
            <a:r>
              <a:rPr lang="ru-RU" sz="1000" dirty="0" smtClean="0">
                <a:cs typeface="Browallia New" pitchFamily="34" charset="-34"/>
              </a:rPr>
              <a:t>Крахмалнатрийоктенилсукцинат, из восковой кукурузы</a:t>
            </a:r>
            <a:r>
              <a:rPr lang="en-GB" sz="1000" dirty="0" smtClean="0">
                <a:cs typeface="Browallia New" pitchFamily="34" charset="-34"/>
              </a:rPr>
              <a:t> </a:t>
            </a:r>
            <a:r>
              <a:rPr lang="en-GB" sz="1000" dirty="0">
                <a:cs typeface="Browallia New" pitchFamily="34" charset="-34"/>
              </a:rPr>
              <a:t>(E 1450)</a:t>
            </a:r>
          </a:p>
          <a:p>
            <a:pPr marL="177800" indent="-177800">
              <a:lnSpc>
                <a:spcPct val="110000"/>
              </a:lnSpc>
              <a:buClr>
                <a:schemeClr val="accent1"/>
              </a:buClr>
              <a:buFontTx/>
              <a:buChar char="•"/>
            </a:pPr>
            <a:r>
              <a:rPr lang="ru-RU" sz="1000" dirty="0" smtClean="0">
                <a:cs typeface="Browallia New" pitchFamily="34" charset="-34"/>
              </a:rPr>
              <a:t>Не содержит молочных белков, не содержит аллергенов</a:t>
            </a:r>
            <a:endParaRPr lang="en-GB" sz="1000" dirty="0">
              <a:solidFill>
                <a:schemeClr val="bg1">
                  <a:lumMod val="50000"/>
                </a:schemeClr>
              </a:solidFill>
              <a:cs typeface="Browallia New" pitchFamily="34" charset="-34"/>
            </a:endParaRPr>
          </a:p>
          <a:p>
            <a:pPr marL="177800" indent="-177800">
              <a:lnSpc>
                <a:spcPct val="110000"/>
              </a:lnSpc>
              <a:buClr>
                <a:schemeClr val="accent1"/>
              </a:buClr>
              <a:buFontTx/>
              <a:buChar char="•"/>
            </a:pP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cs typeface="Browallia New" pitchFamily="34" charset="-34"/>
              </a:rPr>
              <a:t>Соответствует микробиологическим стандартам для  детского и специализированного питания, тестируется на содержание 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cs typeface="Browallia New" pitchFamily="34" charset="-34"/>
              </a:rPr>
              <a:t> </a:t>
            </a:r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cs typeface="Browallia New" pitchFamily="34" charset="-34"/>
              </a:rPr>
              <a:t>Enterobacteriacea</a:t>
            </a:r>
            <a:endParaRPr lang="en-GB" sz="1000" dirty="0">
              <a:solidFill>
                <a:schemeClr val="bg1">
                  <a:lumMod val="50000"/>
                </a:schemeClr>
              </a:solidFill>
              <a:cs typeface="Browallia New" pitchFamily="34" charset="-34"/>
            </a:endParaRPr>
          </a:p>
        </p:txBody>
      </p:sp>
      <p:sp>
        <p:nvSpPr>
          <p:cNvPr id="15369" name="Text 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19313" y="3209411"/>
            <a:ext cx="6550025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 dirty="0" smtClean="0">
                <a:cs typeface="Browallia New" pitchFamily="34" charset="-34"/>
              </a:rPr>
              <a:t>Область применения:</a:t>
            </a:r>
            <a:endParaRPr lang="en-US" sz="1000" b="1" dirty="0">
              <a:cs typeface="Browallia New" pitchFamily="34" charset="-34"/>
            </a:endParaRPr>
          </a:p>
          <a:p>
            <a:r>
              <a:rPr lang="ru-RU" sz="1000" dirty="0" smtClean="0">
                <a:cs typeface="Browallia New" pitchFamily="34" charset="-34"/>
              </a:rPr>
              <a:t>Специализированные адаптированные смеси для детей первого года жизни на основе гидролизатов молочных белков,  специализированные смеси для клинического питания  не содержащие молочных белков.</a:t>
            </a:r>
            <a:endParaRPr lang="en-GB" sz="1000" dirty="0">
              <a:cs typeface="Browallia New" pitchFamily="34" charset="-34"/>
            </a:endParaRPr>
          </a:p>
        </p:txBody>
      </p:sp>
      <p:sp>
        <p:nvSpPr>
          <p:cNvPr id="15370" name="Text Box 1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19313" y="3836452"/>
            <a:ext cx="3027362" cy="9387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>
              <a:lnSpc>
                <a:spcPct val="110000"/>
              </a:lnSpc>
            </a:pPr>
            <a:r>
              <a:rPr lang="ru-RU" sz="1000" b="1" dirty="0">
                <a:cs typeface="Browallia New" pitchFamily="34" charset="-34"/>
              </a:rPr>
              <a:t>П</a:t>
            </a:r>
            <a:r>
              <a:rPr lang="ru-RU" sz="1000" b="1" dirty="0" smtClean="0">
                <a:cs typeface="Browallia New" pitchFamily="34" charset="-34"/>
              </a:rPr>
              <a:t>реимущества</a:t>
            </a:r>
            <a:r>
              <a:rPr lang="en-US" sz="1000" b="1" dirty="0" smtClean="0">
                <a:cs typeface="Browallia New" pitchFamily="34" charset="-34"/>
              </a:rPr>
              <a:t>:</a:t>
            </a:r>
            <a:endParaRPr lang="en-GB" sz="1000" dirty="0">
              <a:cs typeface="Browallia New" pitchFamily="34" charset="-34"/>
            </a:endParaRPr>
          </a:p>
          <a:p>
            <a:pPr marL="177800" indent="-177800">
              <a:lnSpc>
                <a:spcPct val="110000"/>
              </a:lnSpc>
              <a:buClr>
                <a:schemeClr val="accent1"/>
              </a:buClr>
              <a:buFontTx/>
              <a:buChar char="•"/>
            </a:pPr>
            <a:r>
              <a:rPr lang="ru-RU" sz="1000" dirty="0" smtClean="0">
                <a:cs typeface="Browallia New" pitchFamily="34" charset="-34"/>
              </a:rPr>
              <a:t>Альтернатива для эмульгаторов на основе молочного белка в  безмолочных смесях</a:t>
            </a:r>
            <a:endParaRPr lang="en-GB" sz="1000" dirty="0">
              <a:cs typeface="Browallia New" pitchFamily="34" charset="-34"/>
            </a:endParaRPr>
          </a:p>
          <a:p>
            <a:pPr marL="177800" indent="-177800">
              <a:lnSpc>
                <a:spcPct val="110000"/>
              </a:lnSpc>
              <a:buClr>
                <a:schemeClr val="accent1"/>
              </a:buClr>
              <a:buFontTx/>
              <a:buChar char="•"/>
            </a:pPr>
            <a:r>
              <a:rPr lang="ru-RU" sz="1000" dirty="0" smtClean="0">
                <a:cs typeface="Browallia New" pitchFamily="34" charset="-34"/>
              </a:rPr>
              <a:t>Защита от окисления  моно – и поли – ненасыщенных жирных кислот</a:t>
            </a:r>
            <a:endParaRPr lang="en-GB" sz="1000" dirty="0">
              <a:cs typeface="Browallia New" pitchFamily="34" charset="-34"/>
            </a:endParaRPr>
          </a:p>
        </p:txBody>
      </p:sp>
      <p:sp>
        <p:nvSpPr>
          <p:cNvPr id="15371" name="Rectangle 16"/>
          <p:cNvSpPr>
            <a:spLocks noChangeArrowheads="1"/>
          </p:cNvSpPr>
          <p:nvPr/>
        </p:nvSpPr>
        <p:spPr bwMode="auto">
          <a:xfrm>
            <a:off x="5286375" y="458788"/>
            <a:ext cx="338296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US" sz="1100" b="1" dirty="0"/>
          </a:p>
        </p:txBody>
      </p:sp>
      <p:sp>
        <p:nvSpPr>
          <p:cNvPr id="15" name="Rectangle 9" descr="baby-bottle"/>
          <p:cNvSpPr>
            <a:spLocks noChangeArrowheads="1"/>
          </p:cNvSpPr>
          <p:nvPr/>
        </p:nvSpPr>
        <p:spPr bwMode="auto">
          <a:xfrm>
            <a:off x="573089" y="2513013"/>
            <a:ext cx="1443602" cy="1640583"/>
          </a:xfrm>
          <a:prstGeom prst="rect">
            <a:avLst/>
          </a:prstGeom>
          <a:blipFill dpi="0" rotWithShape="1">
            <a:blip r:embed="rId11"/>
            <a:srcRect/>
            <a:stretch>
              <a:fillRect/>
            </a:stretch>
          </a:blipFill>
          <a:ln w="19050" algn="ctr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endParaRPr lang="en-GB" sz="1100">
              <a:solidFill>
                <a:schemeClr val="tx2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MC layout"/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T3tUK3hkKZ94.NWZ1K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_VhkUi1028F6edrp0X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LDsnh8WkuV2PWtx8d6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t0FMO1CEC3YoH_84pc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Akx_OGGES3xHR5J3T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Oy_DRaaEmT.MVefVQ7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h4x7eBBESAD98JQUPl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Oy_DRaaEmT.MVefVQ7Kg"/>
</p:tagLst>
</file>

<file path=ppt/theme/theme1.xml><?xml version="1.0" encoding="utf-8"?>
<a:theme xmlns:a="http://schemas.openxmlformats.org/drawingml/2006/main" name="Ingredion_SD_20120301_org">
  <a:themeElements>
    <a:clrScheme name="Ingredion">
      <a:dk1>
        <a:srgbClr val="717276"/>
      </a:dk1>
      <a:lt1>
        <a:srgbClr val="FFFFFF"/>
      </a:lt1>
      <a:dk2>
        <a:srgbClr val="6CB33F"/>
      </a:dk2>
      <a:lt2>
        <a:srgbClr val="717276"/>
      </a:lt2>
      <a:accent1>
        <a:srgbClr val="273691"/>
      </a:accent1>
      <a:accent2>
        <a:srgbClr val="006A71"/>
      </a:accent2>
      <a:accent3>
        <a:srgbClr val="B41F75"/>
      </a:accent3>
      <a:accent4>
        <a:srgbClr val="B5121B"/>
      </a:accent4>
      <a:accent5>
        <a:srgbClr val="00549E"/>
      </a:accent5>
      <a:accent6>
        <a:srgbClr val="C5AA2E"/>
      </a:accent6>
      <a:hlink>
        <a:srgbClr val="F47B20"/>
      </a:hlink>
      <a:folHlink>
        <a:srgbClr val="B3749A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</Language>
    <Description0 xmlns="14878a7f-cc81-40f4-a605-6fd5d1936d12">CIN segment; new product launch summary external</Description0>
    <Springboard xmlns="4812596d-7e0a-40a5-bc9c-b5eb239ee3dc">
      <Value>Nutrition</Value>
    </Springboard>
    <ContentType1 xmlns="4812596d-7e0a-40a5-bc9c-b5eb239ee3dc">
      <Value>12</Value>
    </ContentType1>
    <Audience xmlns="4812596d-7e0a-40a5-bc9c-b5eb239ee3dc">External</Audience>
    <SubContentType xmlns="4812596d-7e0a-40a5-bc9c-b5eb239ee3dc" xsi:nil="true"/>
    <Sales_x0020_and_x0020_Marketing_x0020_Process xmlns="4812596d-7e0a-40a5-bc9c-b5eb239ee3dc"/>
    <Region xmlns="4812596d-7e0a-40a5-bc9c-b5eb239ee3dc">
      <Value>EMEA</Value>
    </Region>
    <Segment xmlns="4812596d-7e0a-40a5-bc9c-b5eb239ee3dc">
      <Value>5</Value>
    </Segment>
    <Sub_x0020_Segment xmlns="4812596d-7e0a-40a5-bc9c-b5eb239ee3d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IoL" ma:contentTypeID="0x010100F433CEB650DCE54E86C33095AB0E25820042ECF11CBDC0CF448BFC38E9221C7E5E" ma:contentTypeVersion="31" ma:contentTypeDescription="" ma:contentTypeScope="" ma:versionID="9c6c9c0c83fa4a22a4945702eec28abe">
  <xsd:schema xmlns:xsd="http://www.w3.org/2001/XMLSchema" xmlns:xs="http://www.w3.org/2001/XMLSchema" xmlns:p="http://schemas.microsoft.com/office/2006/metadata/properties" xmlns:ns1="http://schemas.microsoft.com/sharepoint/v3" xmlns:ns2="14878a7f-cc81-40f4-a605-6fd5d1936d12" xmlns:ns3="4812596d-7e0a-40a5-bc9c-b5eb239ee3dc" targetNamespace="http://schemas.microsoft.com/office/2006/metadata/properties" ma:root="true" ma:fieldsID="a0f947949db3753525cb820dff3757b2" ns1:_="" ns2:_="" ns3:_="">
    <xsd:import namespace="http://schemas.microsoft.com/sharepoint/v3"/>
    <xsd:import namespace="14878a7f-cc81-40f4-a605-6fd5d1936d12"/>
    <xsd:import namespace="4812596d-7e0a-40a5-bc9c-b5eb239ee3dc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3:Region" minOccurs="0"/>
                <xsd:element ref="ns3:Segment" minOccurs="0"/>
                <xsd:element ref="ns3:Sub_x0020_Segment" minOccurs="0"/>
                <xsd:element ref="ns3:Springboard" minOccurs="0"/>
                <xsd:element ref="ns3:ContentType1" minOccurs="0"/>
                <xsd:element ref="ns3:SubContentType" minOccurs="0"/>
                <xsd:element ref="ns1:Language"/>
                <xsd:element ref="ns3:Audience"/>
                <xsd:element ref="ns3:Sales_x0020_and_x0020_Marketing_x0020_Process" minOccurs="0"/>
                <xsd:element ref="ns1:_dlc_Exemp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8" ma:displayName="Language" ma:format="Dropdown" ma:internalName="Language" ma:readOnly="false">
      <xsd:simpleType>
        <xsd:restriction base="dms:Choice">
          <xsd:enumeration value="Arabic"/>
          <xsd:enumeration value="Chinese (simplified)"/>
          <xsd:enumeration value="Chinese (Traditional)"/>
          <xsd:enumeration value="English"/>
          <xsd:enumeration value="English (US)"/>
          <xsd:enumeration value="French"/>
          <xsd:enumeration value="French (Canada)"/>
          <xsd:enumeration value="German"/>
          <xsd:enumeration value="Japanese"/>
          <xsd:enumeration value="Korean"/>
          <xsd:enumeration value="Portugese"/>
          <xsd:enumeration value="Russian"/>
          <xsd:enumeration value="Spanish"/>
          <xsd:enumeration value="Thai"/>
        </xsd:restriction>
      </xsd:simpleType>
    </xsd:element>
    <xsd:element name="_dlc_Exempt" ma:index="18" nillable="true" ma:displayName="Exempt from Policy" ma:hidden="true" ma:internalName="_dlc_Exempt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878a7f-cc81-40f4-a605-6fd5d1936d12" elementFormDefault="qualified">
    <xsd:import namespace="http://schemas.microsoft.com/office/2006/documentManagement/types"/>
    <xsd:import namespace="http://schemas.microsoft.com/office/infopath/2007/PartnerControls"/>
    <xsd:element name="Description0" ma:index="1" nillable="true" ma:displayName="Description" ma:indexed="true" ma:internalName="Description0">
      <xsd:simpleType>
        <xsd:restriction base="dms:Text">
          <xsd:maxLength value="140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12596d-7e0a-40a5-bc9c-b5eb239ee3dc" elementFormDefault="qualified">
    <xsd:import namespace="http://schemas.microsoft.com/office/2006/documentManagement/types"/>
    <xsd:import namespace="http://schemas.microsoft.com/office/infopath/2007/PartnerControls"/>
    <xsd:element name="Region" ma:index="2" nillable="true" ma:displayName="Region" ma:internalName="Region" ma:readOnly="false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Global"/>
                    <xsd:enumeration value="APAC"/>
                    <xsd:enumeration value="EMEA"/>
                    <xsd:enumeration value="Mexico"/>
                    <xsd:enumeration value="NA"/>
                    <xsd:enumeration value="SA"/>
                  </xsd:restriction>
                </xsd:simpleType>
              </xsd:element>
            </xsd:sequence>
          </xsd:extension>
        </xsd:complexContent>
      </xsd:complexType>
    </xsd:element>
    <xsd:element name="Segment" ma:index="3" nillable="true" ma:displayName="Segment" ma:list="{39f7d884-2814-494d-9bd5-90e70d1a41a8}" ma:internalName="Segment" ma:showField="Title" ma:web="4812596d-7e0a-40a5-bc9c-b5eb239ee3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ub_x0020_Segment" ma:index="4" nillable="true" ma:displayName="Sub Segment" ma:list="{34040c3b-d266-47a0-adc2-46ffea736c03}" ma:internalName="Sub_x0020_Segment" ma:showField="Title" ma:web="4812596d-7e0a-40a5-bc9c-b5eb239ee3dc">
      <xsd:simpleType>
        <xsd:restriction base="dms:Lookup"/>
      </xsd:simpleType>
    </xsd:element>
    <xsd:element name="Springboard" ma:index="5" nillable="true" ma:displayName="Springboard" ma:internalName="Springboard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re"/>
                    <xsd:enumeration value="Delivery Systems"/>
                    <xsd:enumeration value="Green Solutions"/>
                    <xsd:enumeration value="Non-Springboard Specialties"/>
                    <xsd:enumeration value="Nutrition"/>
                    <xsd:enumeration value="Sweetness"/>
                    <xsd:enumeration value="Texture"/>
                    <xsd:enumeration value="Wholesome"/>
                  </xsd:restriction>
                </xsd:simpleType>
              </xsd:element>
            </xsd:sequence>
          </xsd:extension>
        </xsd:complexContent>
      </xsd:complexType>
    </xsd:element>
    <xsd:element name="ContentType1" ma:index="6" nillable="true" ma:displayName="ContentType" ma:list="{0ff8b779-9579-43ac-947f-dcbbd61e1e70}" ma:internalName="ContentType1" ma:showField="Title" ma:web="4812596d-7e0a-40a5-bc9c-b5eb239ee3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ubContentType" ma:index="7" nillable="true" ma:displayName="SubContentType" ma:list="{2563c1dc-a40d-42d5-a344-396a47b134b4}" ma:internalName="SubContentType" ma:showField="Title" ma:web="4812596d-7e0a-40a5-bc9c-b5eb239ee3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Audience" ma:index="9" ma:displayName="Audience" ma:format="Dropdown" ma:internalName="Audience" ma:readOnly="false">
      <xsd:simpleType>
        <xsd:restriction base="dms:Choice">
          <xsd:enumeration value="External"/>
          <xsd:enumeration value="Internal"/>
        </xsd:restriction>
      </xsd:simpleType>
    </xsd:element>
    <xsd:element name="Sales_x0020_and_x0020_Marketing_x0020_Process" ma:index="10" nillable="true" ma:displayName="Sales and Marketing Process" ma:internalName="Sales_x0020_and_x0020_Marketing_x0020_Proces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reate"/>
                    <xsd:enumeration value="Develop"/>
                    <xsd:enumeration value="Generate Leads"/>
                    <xsd:enumeration value="Implement"/>
                    <xsd:enumeration value="Negotiate &amp; Close"/>
                    <xsd:enumeration value="Plan"/>
                    <xsd:enumeration value="Prove"/>
                    <xsd:enumeration value="Qualify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p:Policy xmlns:p="office.server.policy" id="" local="true">
  <p:Name>IoL</p:Name>
  <p:Description/>
  <p:Statement/>
  <p:PolicyItems>
    <p:PolicyItem featureId="Microsoft.Office.RecordsManagement.PolicyFeatures.PolicyAudit" staticId="0x010100F433CEB650DCE54E86C33095AB0E25820042ECF11CBDC0CF448BFC38E9221C7E5E|937198175" UniqueId="4bc69e98-a725-48c5-bb2f-cee4be701f0d">
      <p:Name>Auditing</p:Name>
      <p:Description>Audits user actions on documents and list items to the Audit Log.</p:Description>
      <p:CustomData>
        <Audit>
          <View/>
        </Audit>
      </p:CustomData>
    </p:PolicyItem>
  </p:PolicyItems>
</p:Policy>
</file>

<file path=customXml/itemProps1.xml><?xml version="1.0" encoding="utf-8"?>
<ds:datastoreItem xmlns:ds="http://schemas.openxmlformats.org/officeDocument/2006/customXml" ds:itemID="{5CDEB5C6-29D2-4D4B-BA55-6815208F66E2}">
  <ds:schemaRefs>
    <ds:schemaRef ds:uri="http://purl.org/dc/terms/"/>
    <ds:schemaRef ds:uri="http://schemas.microsoft.com/office/2006/documentManagement/types"/>
    <ds:schemaRef ds:uri="4812596d-7e0a-40a5-bc9c-b5eb239ee3dc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dcmitype/"/>
    <ds:schemaRef ds:uri="http://purl.org/dc/elements/1.1/"/>
    <ds:schemaRef ds:uri="http://schemas.openxmlformats.org/package/2006/metadata/core-properties"/>
    <ds:schemaRef ds:uri="14878a7f-cc81-40f4-a605-6fd5d1936d12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6567205E-9C6F-453E-83D7-7B6C0EB7CE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85E79B7-B94A-44E2-97D3-08CFF79055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4878a7f-cc81-40f4-a605-6fd5d1936d12"/>
    <ds:schemaRef ds:uri="4812596d-7e0a-40a5-bc9c-b5eb239ee3d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C05DECA-E925-4368-9F6D-EEE42A2849D1}">
  <ds:schemaRefs>
    <ds:schemaRef ds:uri="office.server.polic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redion_SD_20120301_org</Template>
  <TotalTime>0</TotalTime>
  <Words>267</Words>
  <Application>Microsoft Office PowerPoint</Application>
  <PresentationFormat>On-screen Show (4:3)</PresentationFormat>
  <Paragraphs>27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Ingredion_SD_20120301_org</vt:lpstr>
      <vt:lpstr>UNI-PURE TM IMF 2332</vt:lpstr>
    </vt:vector>
  </TitlesOfParts>
  <Company>ExecutiveGraphic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-PURE TM IMF 2332</dc:title>
  <dc:creator>Executive Graphics</dc:creator>
  <cp:lastModifiedBy>Svetlana Danilenko</cp:lastModifiedBy>
  <cp:revision>97</cp:revision>
  <cp:lastPrinted>2012-12-20T13:33:18Z</cp:lastPrinted>
  <dcterms:created xsi:type="dcterms:W3CDTF">2012-05-04T17:42:08Z</dcterms:created>
  <dcterms:modified xsi:type="dcterms:W3CDTF">2015-08-13T09:2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33CEB650DCE54E86C33095AB0E25820042ECF11CBDC0CF448BFC38E9221C7E5E</vt:lpwstr>
  </property>
  <property fmtid="{D5CDD505-2E9C-101B-9397-08002B2CF9AE}" pid="3" name="Order">
    <vt:r8>30300</vt:r8>
  </property>
  <property fmtid="{D5CDD505-2E9C-101B-9397-08002B2CF9AE}" pid="4" name="Avebe">
    <vt:lpwstr>No</vt:lpwstr>
  </property>
  <property fmtid="{D5CDD505-2E9C-101B-9397-08002B2CF9AE}" pid="5" name="ContentOwner">
    <vt:lpwstr>CIN</vt:lpwstr>
  </property>
  <property fmtid="{D5CDD505-2E9C-101B-9397-08002B2CF9AE}" pid="6" name="Region Metadata">
    <vt:lpwstr>3;#EMEA|c6daf3dd-7876-4638-8b1f-ad44a212cb6f</vt:lpwstr>
  </property>
  <property fmtid="{D5CDD505-2E9C-101B-9397-08002B2CF9AE}" pid="7" name="TaxCatchAll">
    <vt:lpwstr>3;#EMEA|c6daf3dd-7876-4638-8b1f-ad44a212cb6f</vt:lpwstr>
  </property>
  <property fmtid="{D5CDD505-2E9C-101B-9397-08002B2CF9AE}" pid="8" name="n5b9134b7e9c493fbfad3320efd67a29">
    <vt:lpwstr>EMEA|c6daf3dd-7876-4638-8b1f-ad44a212cb6f</vt:lpwstr>
  </property>
  <property fmtid="{D5CDD505-2E9C-101B-9397-08002B2CF9AE}" pid="9" name="Expiration Date0">
    <vt:filetime>2015-03-01T06:00:00Z</vt:filetime>
  </property>
</Properties>
</file>